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6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5E66C1-0233-4F22-8573-BF11A2267496}" type="datetimeFigureOut">
              <a:rPr lang="zh-CN" altLang="en-US" smtClean="0"/>
              <a:t>2025/8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E6BBA5-2A3C-44D5-B900-F7275A53E94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972190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3456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48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15389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81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420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7571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98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277976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2" name="Gruppieren 5">
            <a:extLst>
              <a:ext uri="{FF2B5EF4-FFF2-40B4-BE49-F238E27FC236}">
                <a16:creationId xmlns:a16="http://schemas.microsoft.com/office/drawing/2014/main" id="{52994B3F-4B77-4F63-BD78-91E25BF1A20E}"/>
              </a:ext>
            </a:extLst>
          </p:cNvPr>
          <p:cNvGrpSpPr>
            <a:grpSpLocks/>
          </p:cNvGrpSpPr>
          <p:nvPr/>
        </p:nvGrpSpPr>
        <p:grpSpPr>
          <a:xfrm>
            <a:off x="1843993" y="5033812"/>
            <a:ext cx="929996" cy="641432"/>
            <a:chOff x="2117981" y="5220462"/>
            <a:chExt cx="929996" cy="641432"/>
          </a:xfrm>
        </p:grpSpPr>
        <p:sp>
          <p:nvSpPr>
            <p:cNvPr id="3" name="Freihandform: Form 6">
              <a:extLst>
                <a:ext uri="{FF2B5EF4-FFF2-40B4-BE49-F238E27FC236}">
                  <a16:creationId xmlns:a16="http://schemas.microsoft.com/office/drawing/2014/main" id="{BEAEEE2F-8230-FAB6-F178-C9160AD4671B}"/>
                </a:ext>
              </a:extLst>
            </p:cNvPr>
            <p:cNvSpPr>
              <a:spLocks/>
            </p:cNvSpPr>
            <p:nvPr/>
          </p:nvSpPr>
          <p:spPr>
            <a:xfrm>
              <a:off x="2118726" y="5220462"/>
              <a:ext cx="929242" cy="43356"/>
            </a:xfrm>
            <a:custGeom>
              <a:avLst/>
              <a:gdLst>
                <a:gd name="connsiteX0" fmla="*/ 118396 w 118395"/>
                <a:gd name="connsiteY0" fmla="*/ 2762 h 5524"/>
                <a:gd name="connsiteX1" fmla="*/ 59150 w 118395"/>
                <a:gd name="connsiteY1" fmla="*/ 5525 h 5524"/>
                <a:gd name="connsiteX2" fmla="*/ 0 w 118395"/>
                <a:gd name="connsiteY2" fmla="*/ 2858 h 5524"/>
                <a:gd name="connsiteX3" fmla="*/ 0 w 118395"/>
                <a:gd name="connsiteY3" fmla="*/ 2858 h 5524"/>
                <a:gd name="connsiteX4" fmla="*/ 59150 w 118395"/>
                <a:gd name="connsiteY4" fmla="*/ 0 h 5524"/>
                <a:gd name="connsiteX5" fmla="*/ 118396 w 118395"/>
                <a:gd name="connsiteY5" fmla="*/ 2762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95" h="5524">
                  <a:moveTo>
                    <a:pt x="118396" y="2762"/>
                  </a:moveTo>
                  <a:cubicBezTo>
                    <a:pt x="118396" y="4286"/>
                    <a:pt x="91916" y="5525"/>
                    <a:pt x="59150" y="5525"/>
                  </a:cubicBezTo>
                  <a:cubicBezTo>
                    <a:pt x="26384" y="5525"/>
                    <a:pt x="2000" y="4382"/>
                    <a:pt x="0" y="2858"/>
                  </a:cubicBezTo>
                  <a:lnTo>
                    <a:pt x="0" y="2858"/>
                  </a:lnTo>
                  <a:cubicBezTo>
                    <a:pt x="2000" y="1143"/>
                    <a:pt x="27718" y="0"/>
                    <a:pt x="59150" y="0"/>
                  </a:cubicBezTo>
                  <a:cubicBezTo>
                    <a:pt x="90583" y="0"/>
                    <a:pt x="118396" y="1238"/>
                    <a:pt x="118396" y="2762"/>
                  </a:cubicBezTo>
                  <a:close/>
                </a:path>
              </a:pathLst>
            </a:custGeom>
            <a:solidFill>
              <a:schemeClr val="accent1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638B44A4-9527-9A5A-67CA-00D4F8DCA6C5}"/>
                </a:ext>
              </a:extLst>
            </p:cNvPr>
            <p:cNvSpPr>
              <a:spLocks/>
            </p:cNvSpPr>
            <p:nvPr/>
          </p:nvSpPr>
          <p:spPr>
            <a:xfrm>
              <a:off x="2117981" y="5242148"/>
              <a:ext cx="929996" cy="619746"/>
            </a:xfrm>
            <a:custGeom>
              <a:avLst/>
              <a:gdLst>
                <a:gd name="connsiteX0" fmla="*/ 118491 w 118491"/>
                <a:gd name="connsiteY0" fmla="*/ 0 h 78962"/>
                <a:gd name="connsiteX1" fmla="*/ 118491 w 118491"/>
                <a:gd name="connsiteY1" fmla="*/ 76200 h 78962"/>
                <a:gd name="connsiteX2" fmla="*/ 59246 w 118491"/>
                <a:gd name="connsiteY2" fmla="*/ 78962 h 78962"/>
                <a:gd name="connsiteX3" fmla="*/ 0 w 118491"/>
                <a:gd name="connsiteY3" fmla="*/ 76200 h 78962"/>
                <a:gd name="connsiteX4" fmla="*/ 95 w 118491"/>
                <a:gd name="connsiteY4" fmla="*/ 76200 h 78962"/>
                <a:gd name="connsiteX5" fmla="*/ 95 w 118491"/>
                <a:gd name="connsiteY5" fmla="*/ 95 h 78962"/>
                <a:gd name="connsiteX6" fmla="*/ 59246 w 118491"/>
                <a:gd name="connsiteY6" fmla="*/ 2762 h 78962"/>
                <a:gd name="connsiteX7" fmla="*/ 118491 w 118491"/>
                <a:gd name="connsiteY7" fmla="*/ 0 h 78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491" h="78962">
                  <a:moveTo>
                    <a:pt x="118491" y="0"/>
                  </a:moveTo>
                  <a:lnTo>
                    <a:pt x="118491" y="76200"/>
                  </a:lnTo>
                  <a:cubicBezTo>
                    <a:pt x="118491" y="77724"/>
                    <a:pt x="92012" y="78962"/>
                    <a:pt x="59246" y="78962"/>
                  </a:cubicBezTo>
                  <a:cubicBezTo>
                    <a:pt x="26480" y="78962"/>
                    <a:pt x="0" y="77724"/>
                    <a:pt x="0" y="76200"/>
                  </a:cubicBezTo>
                  <a:cubicBezTo>
                    <a:pt x="0" y="76200"/>
                    <a:pt x="31" y="76200"/>
                    <a:pt x="95" y="76200"/>
                  </a:cubicBezTo>
                  <a:lnTo>
                    <a:pt x="95" y="95"/>
                  </a:lnTo>
                  <a:cubicBezTo>
                    <a:pt x="2096" y="1619"/>
                    <a:pt x="27813" y="2762"/>
                    <a:pt x="59246" y="2762"/>
                  </a:cubicBezTo>
                  <a:cubicBezTo>
                    <a:pt x="90678" y="2762"/>
                    <a:pt x="118491" y="1524"/>
                    <a:pt x="118491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6" name="Gruppieren 8">
            <a:extLst>
              <a:ext uri="{FF2B5EF4-FFF2-40B4-BE49-F238E27FC236}">
                <a16:creationId xmlns:a16="http://schemas.microsoft.com/office/drawing/2014/main" id="{D34A9D83-6AB3-757F-2605-A79CDFF52465}"/>
              </a:ext>
            </a:extLst>
          </p:cNvPr>
          <p:cNvGrpSpPr>
            <a:grpSpLocks/>
          </p:cNvGrpSpPr>
          <p:nvPr/>
        </p:nvGrpSpPr>
        <p:grpSpPr>
          <a:xfrm>
            <a:off x="1566637" y="4337817"/>
            <a:ext cx="1484700" cy="654876"/>
            <a:chOff x="1840625" y="4524467"/>
            <a:chExt cx="1484700" cy="654876"/>
          </a:xfrm>
        </p:grpSpPr>
        <p:sp>
          <p:nvSpPr>
            <p:cNvPr id="7" name="Freihandform: Form 9">
              <a:extLst>
                <a:ext uri="{FF2B5EF4-FFF2-40B4-BE49-F238E27FC236}">
                  <a16:creationId xmlns:a16="http://schemas.microsoft.com/office/drawing/2014/main" id="{5E11DD02-ABDE-EA4F-9AB3-8149B29E7EBD}"/>
                </a:ext>
              </a:extLst>
            </p:cNvPr>
            <p:cNvSpPr>
              <a:spLocks/>
            </p:cNvSpPr>
            <p:nvPr/>
          </p:nvSpPr>
          <p:spPr>
            <a:xfrm>
              <a:off x="1840625" y="4524467"/>
              <a:ext cx="1484700" cy="68770"/>
            </a:xfrm>
            <a:custGeom>
              <a:avLst/>
              <a:gdLst>
                <a:gd name="connsiteX0" fmla="*/ 189166 w 189166"/>
                <a:gd name="connsiteY0" fmla="*/ 4381 h 8762"/>
                <a:gd name="connsiteX1" fmla="*/ 189071 w 189166"/>
                <a:gd name="connsiteY1" fmla="*/ 4572 h 8762"/>
                <a:gd name="connsiteX2" fmla="*/ 94583 w 189166"/>
                <a:gd name="connsiteY2" fmla="*/ 8763 h 8762"/>
                <a:gd name="connsiteX3" fmla="*/ 95 w 189166"/>
                <a:gd name="connsiteY3" fmla="*/ 4572 h 8762"/>
                <a:gd name="connsiteX4" fmla="*/ 0 w 189166"/>
                <a:gd name="connsiteY4" fmla="*/ 4381 h 8762"/>
                <a:gd name="connsiteX5" fmla="*/ 94583 w 189166"/>
                <a:gd name="connsiteY5" fmla="*/ 0 h 8762"/>
                <a:gd name="connsiteX6" fmla="*/ 189166 w 189166"/>
                <a:gd name="connsiteY6" fmla="*/ 4381 h 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66" h="8762">
                  <a:moveTo>
                    <a:pt x="189166" y="4381"/>
                  </a:moveTo>
                  <a:cubicBezTo>
                    <a:pt x="189166" y="4381"/>
                    <a:pt x="189166" y="4572"/>
                    <a:pt x="189071" y="4572"/>
                  </a:cubicBezTo>
                  <a:cubicBezTo>
                    <a:pt x="186500" y="6953"/>
                    <a:pt x="145256" y="8763"/>
                    <a:pt x="94583" y="8763"/>
                  </a:cubicBezTo>
                  <a:cubicBezTo>
                    <a:pt x="43910" y="8763"/>
                    <a:pt x="2667" y="6953"/>
                    <a:pt x="95" y="4572"/>
                  </a:cubicBezTo>
                  <a:cubicBezTo>
                    <a:pt x="0" y="4572"/>
                    <a:pt x="0" y="4477"/>
                    <a:pt x="0" y="4381"/>
                  </a:cubicBezTo>
                  <a:cubicBezTo>
                    <a:pt x="0" y="1905"/>
                    <a:pt x="42386" y="0"/>
                    <a:pt x="94583" y="0"/>
                  </a:cubicBezTo>
                  <a:cubicBezTo>
                    <a:pt x="146780" y="0"/>
                    <a:pt x="189166" y="1905"/>
                    <a:pt x="189166" y="4381"/>
                  </a:cubicBezTo>
                  <a:close/>
                </a:path>
              </a:pathLst>
            </a:custGeom>
            <a:solidFill>
              <a:schemeClr val="accent2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9" name="Freihandform: Form 10">
              <a:extLst>
                <a:ext uri="{FF2B5EF4-FFF2-40B4-BE49-F238E27FC236}">
                  <a16:creationId xmlns:a16="http://schemas.microsoft.com/office/drawing/2014/main" id="{3C7682B7-74E0-0378-AC70-2560971DB31F}"/>
                </a:ext>
              </a:extLst>
            </p:cNvPr>
            <p:cNvSpPr>
              <a:spLocks/>
            </p:cNvSpPr>
            <p:nvPr/>
          </p:nvSpPr>
          <p:spPr>
            <a:xfrm>
              <a:off x="1841370" y="4560351"/>
              <a:ext cx="1483208" cy="618992"/>
            </a:xfrm>
            <a:custGeom>
              <a:avLst/>
              <a:gdLst>
                <a:gd name="connsiteX0" fmla="*/ 188976 w 188976"/>
                <a:gd name="connsiteY0" fmla="*/ 0 h 78866"/>
                <a:gd name="connsiteX1" fmla="*/ 157163 w 188976"/>
                <a:gd name="connsiteY1" fmla="*/ 75914 h 78866"/>
                <a:gd name="connsiteX2" fmla="*/ 94488 w 188976"/>
                <a:gd name="connsiteY2" fmla="*/ 78867 h 78866"/>
                <a:gd name="connsiteX3" fmla="*/ 31814 w 188976"/>
                <a:gd name="connsiteY3" fmla="*/ 75914 h 78866"/>
                <a:gd name="connsiteX4" fmla="*/ 31909 w 188976"/>
                <a:gd name="connsiteY4" fmla="*/ 75914 h 78866"/>
                <a:gd name="connsiteX5" fmla="*/ 31909 w 188976"/>
                <a:gd name="connsiteY5" fmla="*/ 75914 h 78866"/>
                <a:gd name="connsiteX6" fmla="*/ 0 w 188976"/>
                <a:gd name="connsiteY6" fmla="*/ 0 h 78866"/>
                <a:gd name="connsiteX7" fmla="*/ 94488 w 188976"/>
                <a:gd name="connsiteY7" fmla="*/ 4191 h 78866"/>
                <a:gd name="connsiteX8" fmla="*/ 188976 w 188976"/>
                <a:gd name="connsiteY8" fmla="*/ 0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976" h="78866">
                  <a:moveTo>
                    <a:pt x="188976" y="0"/>
                  </a:moveTo>
                  <a:lnTo>
                    <a:pt x="157163" y="75914"/>
                  </a:lnTo>
                  <a:cubicBezTo>
                    <a:pt x="157163" y="77533"/>
                    <a:pt x="129159" y="78867"/>
                    <a:pt x="94488" y="78867"/>
                  </a:cubicBezTo>
                  <a:cubicBezTo>
                    <a:pt x="59817" y="78867"/>
                    <a:pt x="31814" y="77533"/>
                    <a:pt x="31814" y="75914"/>
                  </a:cubicBezTo>
                  <a:cubicBezTo>
                    <a:pt x="31814" y="75914"/>
                    <a:pt x="31845" y="75914"/>
                    <a:pt x="31909" y="75914"/>
                  </a:cubicBezTo>
                  <a:lnTo>
                    <a:pt x="31909" y="75914"/>
                  </a:lnTo>
                  <a:lnTo>
                    <a:pt x="0" y="0"/>
                  </a:lnTo>
                  <a:cubicBezTo>
                    <a:pt x="2572" y="2381"/>
                    <a:pt x="43910" y="4191"/>
                    <a:pt x="94488" y="4191"/>
                  </a:cubicBezTo>
                  <a:cubicBezTo>
                    <a:pt x="145066" y="4191"/>
                    <a:pt x="186404" y="2381"/>
                    <a:pt x="188976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1" name="Gruppieren 11">
            <a:extLst>
              <a:ext uri="{FF2B5EF4-FFF2-40B4-BE49-F238E27FC236}">
                <a16:creationId xmlns:a16="http://schemas.microsoft.com/office/drawing/2014/main" id="{537AFCCA-2379-155F-6034-687ACB2E5C9C}"/>
              </a:ext>
            </a:extLst>
          </p:cNvPr>
          <p:cNvGrpSpPr>
            <a:grpSpLocks/>
          </p:cNvGrpSpPr>
          <p:nvPr/>
        </p:nvGrpSpPr>
        <p:grpSpPr>
          <a:xfrm>
            <a:off x="1279564" y="3641068"/>
            <a:ext cx="2058845" cy="681789"/>
            <a:chOff x="1553552" y="3827718"/>
            <a:chExt cx="2058845" cy="681789"/>
          </a:xfrm>
        </p:grpSpPr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3829CE9D-276F-5184-285D-7522CAD1891E}"/>
                </a:ext>
              </a:extLst>
            </p:cNvPr>
            <p:cNvSpPr>
              <a:spLocks/>
            </p:cNvSpPr>
            <p:nvPr/>
          </p:nvSpPr>
          <p:spPr>
            <a:xfrm>
              <a:off x="1553552" y="3827718"/>
              <a:ext cx="2058845" cy="95691"/>
            </a:xfrm>
            <a:custGeom>
              <a:avLst/>
              <a:gdLst>
                <a:gd name="connsiteX0" fmla="*/ 262319 w 262318"/>
                <a:gd name="connsiteY0" fmla="*/ 6096 h 12192"/>
                <a:gd name="connsiteX1" fmla="*/ 131159 w 262318"/>
                <a:gd name="connsiteY1" fmla="*/ 12192 h 12192"/>
                <a:gd name="connsiteX2" fmla="*/ 190 w 262318"/>
                <a:gd name="connsiteY2" fmla="*/ 6382 h 12192"/>
                <a:gd name="connsiteX3" fmla="*/ 0 w 262318"/>
                <a:gd name="connsiteY3" fmla="*/ 6096 h 12192"/>
                <a:gd name="connsiteX4" fmla="*/ 131159 w 262318"/>
                <a:gd name="connsiteY4" fmla="*/ 0 h 12192"/>
                <a:gd name="connsiteX5" fmla="*/ 262319 w 262318"/>
                <a:gd name="connsiteY5" fmla="*/ 6096 h 1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318" h="12192">
                  <a:moveTo>
                    <a:pt x="262319" y="6096"/>
                  </a:moveTo>
                  <a:cubicBezTo>
                    <a:pt x="262319" y="9525"/>
                    <a:pt x="203644" y="12192"/>
                    <a:pt x="131159" y="12192"/>
                  </a:cubicBezTo>
                  <a:cubicBezTo>
                    <a:pt x="58674" y="12192"/>
                    <a:pt x="3715" y="9716"/>
                    <a:pt x="190" y="6382"/>
                  </a:cubicBezTo>
                  <a:cubicBezTo>
                    <a:pt x="190" y="6286"/>
                    <a:pt x="0" y="6191"/>
                    <a:pt x="0" y="6096"/>
                  </a:cubicBezTo>
                  <a:cubicBezTo>
                    <a:pt x="0" y="2667"/>
                    <a:pt x="58769" y="0"/>
                    <a:pt x="131159" y="0"/>
                  </a:cubicBezTo>
                  <a:cubicBezTo>
                    <a:pt x="203549" y="0"/>
                    <a:pt x="262319" y="2667"/>
                    <a:pt x="262319" y="6096"/>
                  </a:cubicBezTo>
                  <a:close/>
                </a:path>
              </a:pathLst>
            </a:custGeom>
            <a:solidFill>
              <a:schemeClr val="tx2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FB1E6914-7584-678A-791A-0A0D68693FE3}"/>
                </a:ext>
              </a:extLst>
            </p:cNvPr>
            <p:cNvSpPr>
              <a:spLocks/>
            </p:cNvSpPr>
            <p:nvPr/>
          </p:nvSpPr>
          <p:spPr>
            <a:xfrm>
              <a:off x="1555051" y="3875563"/>
              <a:ext cx="2057346" cy="633944"/>
            </a:xfrm>
            <a:custGeom>
              <a:avLst/>
              <a:gdLst>
                <a:gd name="connsiteX0" fmla="*/ 262128 w 262127"/>
                <a:gd name="connsiteY0" fmla="*/ 0 h 80771"/>
                <a:gd name="connsiteX1" fmla="*/ 230219 w 262127"/>
                <a:gd name="connsiteY1" fmla="*/ 76105 h 80771"/>
                <a:gd name="connsiteX2" fmla="*/ 130969 w 262127"/>
                <a:gd name="connsiteY2" fmla="*/ 80772 h 80771"/>
                <a:gd name="connsiteX3" fmla="*/ 31718 w 262127"/>
                <a:gd name="connsiteY3" fmla="*/ 76105 h 80771"/>
                <a:gd name="connsiteX4" fmla="*/ 31814 w 262127"/>
                <a:gd name="connsiteY4" fmla="*/ 76105 h 80771"/>
                <a:gd name="connsiteX5" fmla="*/ 31814 w 262127"/>
                <a:gd name="connsiteY5" fmla="*/ 75914 h 80771"/>
                <a:gd name="connsiteX6" fmla="*/ 0 w 262127"/>
                <a:gd name="connsiteY6" fmla="*/ 286 h 80771"/>
                <a:gd name="connsiteX7" fmla="*/ 130969 w 262127"/>
                <a:gd name="connsiteY7" fmla="*/ 6096 h 80771"/>
                <a:gd name="connsiteX8" fmla="*/ 262128 w 262127"/>
                <a:gd name="connsiteY8" fmla="*/ 0 h 8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127" h="80771">
                  <a:moveTo>
                    <a:pt x="262128" y="0"/>
                  </a:moveTo>
                  <a:lnTo>
                    <a:pt x="230219" y="76105"/>
                  </a:lnTo>
                  <a:cubicBezTo>
                    <a:pt x="230219" y="78676"/>
                    <a:pt x="185833" y="80772"/>
                    <a:pt x="130969" y="80772"/>
                  </a:cubicBezTo>
                  <a:cubicBezTo>
                    <a:pt x="76105" y="80772"/>
                    <a:pt x="31718" y="78676"/>
                    <a:pt x="31718" y="76105"/>
                  </a:cubicBezTo>
                  <a:lnTo>
                    <a:pt x="31814" y="76105"/>
                  </a:lnTo>
                  <a:lnTo>
                    <a:pt x="31814" y="75914"/>
                  </a:lnTo>
                  <a:lnTo>
                    <a:pt x="0" y="286"/>
                  </a:lnTo>
                  <a:cubicBezTo>
                    <a:pt x="3524" y="3619"/>
                    <a:pt x="60865" y="6096"/>
                    <a:pt x="130969" y="6096"/>
                  </a:cubicBezTo>
                  <a:cubicBezTo>
                    <a:pt x="201073" y="6096"/>
                    <a:pt x="262128" y="3429"/>
                    <a:pt x="262128" y="0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4" name="Gruppieren 14">
            <a:extLst>
              <a:ext uri="{FF2B5EF4-FFF2-40B4-BE49-F238E27FC236}">
                <a16:creationId xmlns:a16="http://schemas.microsoft.com/office/drawing/2014/main" id="{36068CD3-0DA5-AFC4-DC94-F74C8D8940D3}"/>
              </a:ext>
            </a:extLst>
          </p:cNvPr>
          <p:cNvGrpSpPr>
            <a:grpSpLocks/>
          </p:cNvGrpSpPr>
          <p:nvPr/>
        </p:nvGrpSpPr>
        <p:grpSpPr>
          <a:xfrm>
            <a:off x="992492" y="2944319"/>
            <a:ext cx="2632990" cy="708702"/>
            <a:chOff x="1266480" y="3130969"/>
            <a:chExt cx="2632990" cy="708702"/>
          </a:xfrm>
        </p:grpSpPr>
        <p:sp>
          <p:nvSpPr>
            <p:cNvPr id="15" name="Freihandform: Form 15">
              <a:extLst>
                <a:ext uri="{FF2B5EF4-FFF2-40B4-BE49-F238E27FC236}">
                  <a16:creationId xmlns:a16="http://schemas.microsoft.com/office/drawing/2014/main" id="{529DA37F-5C49-B081-6455-D604CD0D8F94}"/>
                </a:ext>
              </a:extLst>
            </p:cNvPr>
            <p:cNvSpPr>
              <a:spLocks/>
            </p:cNvSpPr>
            <p:nvPr/>
          </p:nvSpPr>
          <p:spPr>
            <a:xfrm>
              <a:off x="1268724" y="3195257"/>
              <a:ext cx="2629254" cy="644414"/>
            </a:xfrm>
            <a:custGeom>
              <a:avLst/>
              <a:gdLst>
                <a:gd name="connsiteX0" fmla="*/ 334994 w 334994"/>
                <a:gd name="connsiteY0" fmla="*/ 0 h 82105"/>
                <a:gd name="connsiteX1" fmla="*/ 303181 w 334994"/>
                <a:gd name="connsiteY1" fmla="*/ 75724 h 82105"/>
                <a:gd name="connsiteX2" fmla="*/ 167450 w 334994"/>
                <a:gd name="connsiteY2" fmla="*/ 82105 h 82105"/>
                <a:gd name="connsiteX3" fmla="*/ 31718 w 334994"/>
                <a:gd name="connsiteY3" fmla="*/ 75724 h 82105"/>
                <a:gd name="connsiteX4" fmla="*/ 0 w 334994"/>
                <a:gd name="connsiteY4" fmla="*/ 95 h 82105"/>
                <a:gd name="connsiteX5" fmla="*/ 167450 w 334994"/>
                <a:gd name="connsiteY5" fmla="*/ 7430 h 82105"/>
                <a:gd name="connsiteX6" fmla="*/ 334994 w 334994"/>
                <a:gd name="connsiteY6" fmla="*/ 0 h 82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994" h="82105">
                  <a:moveTo>
                    <a:pt x="334994" y="0"/>
                  </a:moveTo>
                  <a:lnTo>
                    <a:pt x="303181" y="75724"/>
                  </a:lnTo>
                  <a:cubicBezTo>
                    <a:pt x="303181" y="79248"/>
                    <a:pt x="242411" y="82105"/>
                    <a:pt x="167450" y="82105"/>
                  </a:cubicBezTo>
                  <a:cubicBezTo>
                    <a:pt x="92488" y="82105"/>
                    <a:pt x="31718" y="79248"/>
                    <a:pt x="31718" y="75724"/>
                  </a:cubicBezTo>
                  <a:lnTo>
                    <a:pt x="0" y="95"/>
                  </a:lnTo>
                  <a:cubicBezTo>
                    <a:pt x="5143" y="4286"/>
                    <a:pt x="78200" y="7430"/>
                    <a:pt x="167450" y="7430"/>
                  </a:cubicBezTo>
                  <a:cubicBezTo>
                    <a:pt x="256699" y="7430"/>
                    <a:pt x="330518" y="4191"/>
                    <a:pt x="334994" y="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6" name="Freihandform: Form 16">
              <a:extLst>
                <a:ext uri="{FF2B5EF4-FFF2-40B4-BE49-F238E27FC236}">
                  <a16:creationId xmlns:a16="http://schemas.microsoft.com/office/drawing/2014/main" id="{46B875E8-1E2D-C0D6-5BE7-10F27E171BE1}"/>
                </a:ext>
              </a:extLst>
            </p:cNvPr>
            <p:cNvSpPr>
              <a:spLocks/>
            </p:cNvSpPr>
            <p:nvPr/>
          </p:nvSpPr>
          <p:spPr>
            <a:xfrm>
              <a:off x="1266480" y="3130969"/>
              <a:ext cx="2632990" cy="122604"/>
            </a:xfrm>
            <a:custGeom>
              <a:avLst/>
              <a:gdLst>
                <a:gd name="connsiteX0" fmla="*/ 335471 w 335470"/>
                <a:gd name="connsiteY0" fmla="*/ 7810 h 15621"/>
                <a:gd name="connsiteX1" fmla="*/ 335280 w 335470"/>
                <a:gd name="connsiteY1" fmla="*/ 8192 h 15621"/>
                <a:gd name="connsiteX2" fmla="*/ 167735 w 335470"/>
                <a:gd name="connsiteY2" fmla="*/ 15621 h 15621"/>
                <a:gd name="connsiteX3" fmla="*/ 286 w 335470"/>
                <a:gd name="connsiteY3" fmla="*/ 8287 h 15621"/>
                <a:gd name="connsiteX4" fmla="*/ 190 w 335470"/>
                <a:gd name="connsiteY4" fmla="*/ 8192 h 15621"/>
                <a:gd name="connsiteX5" fmla="*/ 0 w 335470"/>
                <a:gd name="connsiteY5" fmla="*/ 7810 h 15621"/>
                <a:gd name="connsiteX6" fmla="*/ 167735 w 335470"/>
                <a:gd name="connsiteY6" fmla="*/ 0 h 15621"/>
                <a:gd name="connsiteX7" fmla="*/ 335471 w 335470"/>
                <a:gd name="connsiteY7" fmla="*/ 7810 h 1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5470" h="15621">
                  <a:moveTo>
                    <a:pt x="335471" y="7810"/>
                  </a:moveTo>
                  <a:cubicBezTo>
                    <a:pt x="335471" y="7810"/>
                    <a:pt x="335375" y="8096"/>
                    <a:pt x="335280" y="8192"/>
                  </a:cubicBezTo>
                  <a:cubicBezTo>
                    <a:pt x="330803" y="12383"/>
                    <a:pt x="257556" y="15621"/>
                    <a:pt x="167735" y="15621"/>
                  </a:cubicBezTo>
                  <a:cubicBezTo>
                    <a:pt x="77915" y="15621"/>
                    <a:pt x="5429" y="12478"/>
                    <a:pt x="286" y="8287"/>
                  </a:cubicBezTo>
                  <a:cubicBezTo>
                    <a:pt x="286" y="8287"/>
                    <a:pt x="286" y="8192"/>
                    <a:pt x="190" y="8192"/>
                  </a:cubicBezTo>
                  <a:cubicBezTo>
                    <a:pt x="95" y="8096"/>
                    <a:pt x="0" y="7906"/>
                    <a:pt x="0" y="7810"/>
                  </a:cubicBezTo>
                  <a:cubicBezTo>
                    <a:pt x="0" y="3429"/>
                    <a:pt x="75152" y="0"/>
                    <a:pt x="167735" y="0"/>
                  </a:cubicBezTo>
                  <a:cubicBezTo>
                    <a:pt x="260318" y="0"/>
                    <a:pt x="335471" y="3429"/>
                    <a:pt x="335471" y="7810"/>
                  </a:cubicBezTo>
                  <a:close/>
                </a:path>
              </a:pathLst>
            </a:custGeom>
            <a:solidFill>
              <a:schemeClr val="accent6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17" name="Gruppieren 17">
            <a:extLst>
              <a:ext uri="{FF2B5EF4-FFF2-40B4-BE49-F238E27FC236}">
                <a16:creationId xmlns:a16="http://schemas.microsoft.com/office/drawing/2014/main" id="{E3F4BF61-6444-86BB-6E35-F446A7B19968}"/>
              </a:ext>
            </a:extLst>
          </p:cNvPr>
          <p:cNvGrpSpPr>
            <a:grpSpLocks/>
          </p:cNvGrpSpPr>
          <p:nvPr/>
        </p:nvGrpSpPr>
        <p:grpSpPr>
          <a:xfrm>
            <a:off x="705419" y="2246816"/>
            <a:ext cx="3207135" cy="736370"/>
            <a:chOff x="979407" y="2433466"/>
            <a:chExt cx="3207135" cy="736370"/>
          </a:xfrm>
        </p:grpSpPr>
        <p:sp>
          <p:nvSpPr>
            <p:cNvPr id="18" name="Freihandform: Form 18">
              <a:extLst>
                <a:ext uri="{FF2B5EF4-FFF2-40B4-BE49-F238E27FC236}">
                  <a16:creationId xmlns:a16="http://schemas.microsoft.com/office/drawing/2014/main" id="{F9574191-C394-B78A-8AE1-9C69234A3F32}"/>
                </a:ext>
              </a:extLst>
            </p:cNvPr>
            <p:cNvSpPr>
              <a:spLocks/>
            </p:cNvSpPr>
            <p:nvPr/>
          </p:nvSpPr>
          <p:spPr>
            <a:xfrm>
              <a:off x="979407" y="2433466"/>
              <a:ext cx="3207135" cy="149517"/>
            </a:xfrm>
            <a:custGeom>
              <a:avLst/>
              <a:gdLst>
                <a:gd name="connsiteX0" fmla="*/ 408623 w 408622"/>
                <a:gd name="connsiteY0" fmla="*/ 9525 h 19050"/>
                <a:gd name="connsiteX1" fmla="*/ 204311 w 408622"/>
                <a:gd name="connsiteY1" fmla="*/ 19050 h 19050"/>
                <a:gd name="connsiteX2" fmla="*/ 286 w 408622"/>
                <a:gd name="connsiteY2" fmla="*/ 10001 h 19050"/>
                <a:gd name="connsiteX3" fmla="*/ 0 w 408622"/>
                <a:gd name="connsiteY3" fmla="*/ 9525 h 19050"/>
                <a:gd name="connsiteX4" fmla="*/ 204311 w 408622"/>
                <a:gd name="connsiteY4" fmla="*/ 0 h 19050"/>
                <a:gd name="connsiteX5" fmla="*/ 408623 w 408622"/>
                <a:gd name="connsiteY5" fmla="*/ 952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622" h="19050">
                  <a:moveTo>
                    <a:pt x="408623" y="9525"/>
                  </a:moveTo>
                  <a:cubicBezTo>
                    <a:pt x="408623" y="14764"/>
                    <a:pt x="317183" y="19050"/>
                    <a:pt x="204311" y="19050"/>
                  </a:cubicBezTo>
                  <a:cubicBezTo>
                    <a:pt x="91440" y="19050"/>
                    <a:pt x="5715" y="15049"/>
                    <a:pt x="286" y="10001"/>
                  </a:cubicBezTo>
                  <a:cubicBezTo>
                    <a:pt x="95" y="9811"/>
                    <a:pt x="0" y="9716"/>
                    <a:pt x="0" y="9525"/>
                  </a:cubicBezTo>
                  <a:cubicBezTo>
                    <a:pt x="0" y="4286"/>
                    <a:pt x="91440" y="0"/>
                    <a:pt x="204311" y="0"/>
                  </a:cubicBezTo>
                  <a:cubicBezTo>
                    <a:pt x="317183" y="0"/>
                    <a:pt x="408623" y="4286"/>
                    <a:pt x="408623" y="9525"/>
                  </a:cubicBezTo>
                  <a:close/>
                </a:path>
              </a:pathLst>
            </a:custGeom>
            <a:solidFill>
              <a:schemeClr val="accent5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9" name="Freihandform: Form 19">
              <a:extLst>
                <a:ext uri="{FF2B5EF4-FFF2-40B4-BE49-F238E27FC236}">
                  <a16:creationId xmlns:a16="http://schemas.microsoft.com/office/drawing/2014/main" id="{151AB6A7-E774-84D6-68B4-F3B6157E23A2}"/>
                </a:ext>
              </a:extLst>
            </p:cNvPr>
            <p:cNvSpPr>
              <a:spLocks/>
            </p:cNvSpPr>
            <p:nvPr/>
          </p:nvSpPr>
          <p:spPr>
            <a:xfrm>
              <a:off x="981652" y="2508225"/>
              <a:ext cx="3204890" cy="661611"/>
            </a:xfrm>
            <a:custGeom>
              <a:avLst/>
              <a:gdLst>
                <a:gd name="connsiteX0" fmla="*/ 408337 w 408336"/>
                <a:gd name="connsiteY0" fmla="*/ 0 h 84296"/>
                <a:gd name="connsiteX1" fmla="*/ 376333 w 408336"/>
                <a:gd name="connsiteY1" fmla="*/ 76200 h 84296"/>
                <a:gd name="connsiteX2" fmla="*/ 204026 w 408336"/>
                <a:gd name="connsiteY2" fmla="*/ 84296 h 84296"/>
                <a:gd name="connsiteX3" fmla="*/ 31718 w 408336"/>
                <a:gd name="connsiteY3" fmla="*/ 76200 h 84296"/>
                <a:gd name="connsiteX4" fmla="*/ 0 w 408336"/>
                <a:gd name="connsiteY4" fmla="*/ 476 h 84296"/>
                <a:gd name="connsiteX5" fmla="*/ 204026 w 408336"/>
                <a:gd name="connsiteY5" fmla="*/ 9525 h 84296"/>
                <a:gd name="connsiteX6" fmla="*/ 408337 w 408336"/>
                <a:gd name="connsiteY6" fmla="*/ 0 h 8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336" h="84296">
                  <a:moveTo>
                    <a:pt x="408337" y="0"/>
                  </a:moveTo>
                  <a:lnTo>
                    <a:pt x="376333" y="76200"/>
                  </a:lnTo>
                  <a:cubicBezTo>
                    <a:pt x="376333" y="80677"/>
                    <a:pt x="299180" y="84296"/>
                    <a:pt x="204026" y="84296"/>
                  </a:cubicBezTo>
                  <a:cubicBezTo>
                    <a:pt x="108871" y="84296"/>
                    <a:pt x="31718" y="80677"/>
                    <a:pt x="31718" y="76200"/>
                  </a:cubicBezTo>
                  <a:lnTo>
                    <a:pt x="0" y="476"/>
                  </a:lnTo>
                  <a:cubicBezTo>
                    <a:pt x="5429" y="5524"/>
                    <a:pt x="94679" y="9525"/>
                    <a:pt x="204026" y="9525"/>
                  </a:cubicBezTo>
                  <a:cubicBezTo>
                    <a:pt x="313373" y="9525"/>
                    <a:pt x="408337" y="5239"/>
                    <a:pt x="408337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20" name="Gleichschenkliges Dreieck 39">
            <a:extLst>
              <a:ext uri="{FF2B5EF4-FFF2-40B4-BE49-F238E27FC236}">
                <a16:creationId xmlns:a16="http://schemas.microsoft.com/office/drawing/2014/main" id="{1DC56D59-FC62-D13A-9EBD-5B4A7F45B014}"/>
              </a:ext>
            </a:extLst>
          </p:cNvPr>
          <p:cNvSpPr>
            <a:spLocks/>
          </p:cNvSpPr>
          <p:nvPr/>
        </p:nvSpPr>
        <p:spPr>
          <a:xfrm rot="10800000">
            <a:off x="2157305" y="5812273"/>
            <a:ext cx="303379" cy="159723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21" name="Gruppieren 21">
            <a:extLst>
              <a:ext uri="{FF2B5EF4-FFF2-40B4-BE49-F238E27FC236}">
                <a16:creationId xmlns:a16="http://schemas.microsoft.com/office/drawing/2014/main" id="{7569CD23-7396-33C1-3DBD-9C49A3B852D0}"/>
              </a:ext>
            </a:extLst>
          </p:cNvPr>
          <p:cNvGrpSpPr>
            <a:grpSpLocks/>
          </p:cNvGrpSpPr>
          <p:nvPr/>
        </p:nvGrpSpPr>
        <p:grpSpPr>
          <a:xfrm>
            <a:off x="419100" y="1550075"/>
            <a:ext cx="3779789" cy="763283"/>
            <a:chOff x="693088" y="1736725"/>
            <a:chExt cx="3779789" cy="763283"/>
          </a:xfrm>
        </p:grpSpPr>
        <p:sp>
          <p:nvSpPr>
            <p:cNvPr id="22" name="Freihandform: Form 22">
              <a:extLst>
                <a:ext uri="{FF2B5EF4-FFF2-40B4-BE49-F238E27FC236}">
                  <a16:creationId xmlns:a16="http://schemas.microsoft.com/office/drawing/2014/main" id="{7C1D95CF-359E-62D4-26E7-2798C572AF54}"/>
                </a:ext>
              </a:extLst>
            </p:cNvPr>
            <p:cNvSpPr>
              <a:spLocks/>
            </p:cNvSpPr>
            <p:nvPr/>
          </p:nvSpPr>
          <p:spPr>
            <a:xfrm>
              <a:off x="695325" y="1829426"/>
              <a:ext cx="3775300" cy="670582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" name="Freihandform: Form 23">
              <a:extLst>
                <a:ext uri="{FF2B5EF4-FFF2-40B4-BE49-F238E27FC236}">
                  <a16:creationId xmlns:a16="http://schemas.microsoft.com/office/drawing/2014/main" id="{086C4193-1E1C-C294-2DE4-6AD387370DEA}"/>
                </a:ext>
              </a:extLst>
            </p:cNvPr>
            <p:cNvSpPr>
              <a:spLocks/>
            </p:cNvSpPr>
            <p:nvPr/>
          </p:nvSpPr>
          <p:spPr>
            <a:xfrm>
              <a:off x="693088" y="1736725"/>
              <a:ext cx="3779789" cy="176422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chemeClr val="bg2">
                <a:alpha val="50196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24" name="Textfeld 74">
            <a:extLst>
              <a:ext uri="{FF2B5EF4-FFF2-40B4-BE49-F238E27FC236}">
                <a16:creationId xmlns:a16="http://schemas.microsoft.com/office/drawing/2014/main" id="{EE371A0C-B9FE-EE05-C3E0-B063B2D911D1}"/>
              </a:ext>
            </a:extLst>
          </p:cNvPr>
          <p:cNvSpPr txBox="1">
            <a:spLocks/>
          </p:cNvSpPr>
          <p:nvPr/>
        </p:nvSpPr>
        <p:spPr>
          <a:xfrm>
            <a:off x="705419" y="1931305"/>
            <a:ext cx="3207134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Helvetica" panose="020B0604020202020204" pitchFamily="34" charset="0"/>
              </a:rPr>
              <a:t>{bullet_1}</a:t>
            </a:r>
          </a:p>
        </p:txBody>
      </p:sp>
      <p:sp>
        <p:nvSpPr>
          <p:cNvPr id="25" name="Textfeld 110">
            <a:extLst>
              <a:ext uri="{FF2B5EF4-FFF2-40B4-BE49-F238E27FC236}">
                <a16:creationId xmlns:a16="http://schemas.microsoft.com/office/drawing/2014/main" id="{E8EB17C7-89A3-8DDD-AD40-E0F430DC2A2C}"/>
              </a:ext>
            </a:extLst>
          </p:cNvPr>
          <p:cNvSpPr txBox="1">
            <a:spLocks/>
          </p:cNvSpPr>
          <p:nvPr/>
        </p:nvSpPr>
        <p:spPr>
          <a:xfrm>
            <a:off x="993982" y="2575138"/>
            <a:ext cx="2630008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  <a:defRPr/>
            </a:pPr>
            <a:r>
              <a:rPr lang="en-US" sz="1400" dirty="0">
                <a:solidFill>
                  <a:srgbClr val="FFFFFF"/>
                </a:solidFill>
                <a:cs typeface="Helvetica" panose="020B0604020202020204" pitchFamily="34" charset="0"/>
              </a:rPr>
              <a:t>{bullet_2}</a:t>
            </a:r>
          </a:p>
        </p:txBody>
      </p:sp>
      <p:sp>
        <p:nvSpPr>
          <p:cNvPr id="26" name="Textfeld 111">
            <a:extLst>
              <a:ext uri="{FF2B5EF4-FFF2-40B4-BE49-F238E27FC236}">
                <a16:creationId xmlns:a16="http://schemas.microsoft.com/office/drawing/2014/main" id="{449E4072-2001-4536-75A9-1679C70831E6}"/>
              </a:ext>
            </a:extLst>
          </p:cNvPr>
          <p:cNvSpPr txBox="1">
            <a:spLocks/>
          </p:cNvSpPr>
          <p:nvPr/>
        </p:nvSpPr>
        <p:spPr>
          <a:xfrm>
            <a:off x="1279564" y="3245952"/>
            <a:ext cx="2058844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  <a:defRPr/>
            </a:pPr>
            <a:r>
              <a:rPr lang="en-US" altLang="zh-CN" sz="1400" dirty="0">
                <a:solidFill>
                  <a:srgbClr val="FFFFFF"/>
                </a:solidFill>
                <a:cs typeface="Helvetica" panose="020B0604020202020204" pitchFamily="34" charset="0"/>
              </a:rPr>
              <a:t>{bullet_3}</a:t>
            </a:r>
          </a:p>
        </p:txBody>
      </p:sp>
      <p:sp>
        <p:nvSpPr>
          <p:cNvPr id="27" name="Textfeld 112">
            <a:extLst>
              <a:ext uri="{FF2B5EF4-FFF2-40B4-BE49-F238E27FC236}">
                <a16:creationId xmlns:a16="http://schemas.microsoft.com/office/drawing/2014/main" id="{6E75560D-864F-6AC0-3343-E2C849EDABF3}"/>
              </a:ext>
            </a:extLst>
          </p:cNvPr>
          <p:cNvSpPr txBox="1">
            <a:spLocks/>
          </p:cNvSpPr>
          <p:nvPr/>
        </p:nvSpPr>
        <p:spPr>
          <a:xfrm>
            <a:off x="1567382" y="3913403"/>
            <a:ext cx="1483208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  <a:defRPr/>
            </a:pPr>
            <a:r>
              <a:rPr lang="en-US" altLang="zh-CN" sz="1400" dirty="0">
                <a:solidFill>
                  <a:srgbClr val="FFFFFF"/>
                </a:solidFill>
                <a:cs typeface="Helvetica" panose="020B0604020202020204" pitchFamily="34" charset="0"/>
              </a:rPr>
              <a:t>{bullet_4}</a:t>
            </a:r>
          </a:p>
        </p:txBody>
      </p:sp>
      <p:sp>
        <p:nvSpPr>
          <p:cNvPr id="28" name="Textfeld 113">
            <a:extLst>
              <a:ext uri="{FF2B5EF4-FFF2-40B4-BE49-F238E27FC236}">
                <a16:creationId xmlns:a16="http://schemas.microsoft.com/office/drawing/2014/main" id="{4566242C-1E14-E410-97ED-1DDEF0CFA155}"/>
              </a:ext>
            </a:extLst>
          </p:cNvPr>
          <p:cNvSpPr txBox="1">
            <a:spLocks/>
          </p:cNvSpPr>
          <p:nvPr/>
        </p:nvSpPr>
        <p:spPr>
          <a:xfrm>
            <a:off x="1844738" y="4575475"/>
            <a:ext cx="92849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  <a:defRPr/>
            </a:pPr>
            <a:r>
              <a:rPr lang="en-US" altLang="zh-CN" sz="1400" dirty="0">
                <a:solidFill>
                  <a:srgbClr val="FFFFFF"/>
                </a:solidFill>
                <a:cs typeface="Helvetica" panose="020B0604020202020204" pitchFamily="34" charset="0"/>
              </a:rPr>
              <a:t>{bullet_5}</a:t>
            </a:r>
          </a:p>
        </p:txBody>
      </p:sp>
      <p:sp>
        <p:nvSpPr>
          <p:cNvPr id="29" name="Textfeld 114">
            <a:extLst>
              <a:ext uri="{FF2B5EF4-FFF2-40B4-BE49-F238E27FC236}">
                <a16:creationId xmlns:a16="http://schemas.microsoft.com/office/drawing/2014/main" id="{44BCA168-0342-72E3-1F05-EA36988B40F1}"/>
              </a:ext>
            </a:extLst>
          </p:cNvPr>
          <p:cNvSpPr txBox="1">
            <a:spLocks/>
          </p:cNvSpPr>
          <p:nvPr/>
        </p:nvSpPr>
        <p:spPr>
          <a:xfrm>
            <a:off x="1844738" y="5257649"/>
            <a:ext cx="92849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Aft>
                <a:spcPts val="300"/>
              </a:spcAft>
              <a:buClr>
                <a:srgbClr val="454545"/>
              </a:buClr>
              <a:tabLst>
                <a:tab pos="1079500" algn="l"/>
              </a:tabLst>
              <a:defRPr/>
            </a:pPr>
            <a:r>
              <a:rPr lang="en-US" altLang="zh-CN" sz="1400" dirty="0">
                <a:solidFill>
                  <a:srgbClr val="FFFFFF"/>
                </a:solidFill>
                <a:cs typeface="Helvetica" panose="020B0604020202020204" pitchFamily="34" charset="0"/>
              </a:rPr>
              <a:t>{bullet_6}</a:t>
            </a:r>
          </a:p>
        </p:txBody>
      </p:sp>
      <p:cxnSp>
        <p:nvCxnSpPr>
          <p:cNvPr id="30" name="Gerader Verbinder 30">
            <a:extLst>
              <a:ext uri="{FF2B5EF4-FFF2-40B4-BE49-F238E27FC236}">
                <a16:creationId xmlns:a16="http://schemas.microsoft.com/office/drawing/2014/main" id="{84C5B730-403D-3382-60D9-690B54188960}"/>
              </a:ext>
            </a:extLst>
          </p:cNvPr>
          <p:cNvCxnSpPr>
            <a:cxnSpLocks/>
          </p:cNvCxnSpPr>
          <p:nvPr/>
        </p:nvCxnSpPr>
        <p:spPr>
          <a:xfrm>
            <a:off x="4093528" y="2273997"/>
            <a:ext cx="7717472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</a:ln>
          <a:effectLst/>
        </p:spPr>
      </p:cxnSp>
      <p:cxnSp>
        <p:nvCxnSpPr>
          <p:cNvPr id="31" name="Gerader Verbinder 31">
            <a:extLst>
              <a:ext uri="{FF2B5EF4-FFF2-40B4-BE49-F238E27FC236}">
                <a16:creationId xmlns:a16="http://schemas.microsoft.com/office/drawing/2014/main" id="{7688D8CD-06CE-0498-A79F-3A0F53CFE8CD}"/>
              </a:ext>
            </a:extLst>
          </p:cNvPr>
          <p:cNvCxnSpPr>
            <a:cxnSpLocks/>
          </p:cNvCxnSpPr>
          <p:nvPr/>
        </p:nvCxnSpPr>
        <p:spPr>
          <a:xfrm>
            <a:off x="3797042" y="2958560"/>
            <a:ext cx="8013958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</a:ln>
          <a:effectLst/>
        </p:spPr>
      </p:cxnSp>
      <p:cxnSp>
        <p:nvCxnSpPr>
          <p:cNvPr id="32" name="Gerader Verbinder 32">
            <a:extLst>
              <a:ext uri="{FF2B5EF4-FFF2-40B4-BE49-F238E27FC236}">
                <a16:creationId xmlns:a16="http://schemas.microsoft.com/office/drawing/2014/main" id="{253A8795-0CD4-555A-79F4-E62D7CA935A8}"/>
              </a:ext>
            </a:extLst>
          </p:cNvPr>
          <p:cNvCxnSpPr>
            <a:cxnSpLocks/>
          </p:cNvCxnSpPr>
          <p:nvPr/>
        </p:nvCxnSpPr>
        <p:spPr>
          <a:xfrm>
            <a:off x="3519383" y="3643122"/>
            <a:ext cx="8291617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</a:ln>
          <a:effectLst/>
        </p:spPr>
      </p:cxnSp>
      <p:cxnSp>
        <p:nvCxnSpPr>
          <p:cNvPr id="33" name="Gerader Verbinder 33">
            <a:extLst>
              <a:ext uri="{FF2B5EF4-FFF2-40B4-BE49-F238E27FC236}">
                <a16:creationId xmlns:a16="http://schemas.microsoft.com/office/drawing/2014/main" id="{CD8BC072-3F03-70ED-728F-FD80411BBF5D}"/>
              </a:ext>
            </a:extLst>
          </p:cNvPr>
          <p:cNvCxnSpPr>
            <a:cxnSpLocks/>
          </p:cNvCxnSpPr>
          <p:nvPr/>
        </p:nvCxnSpPr>
        <p:spPr>
          <a:xfrm>
            <a:off x="3231565" y="4327685"/>
            <a:ext cx="8579435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</a:ln>
          <a:effectLst/>
        </p:spPr>
      </p:cxnSp>
      <p:cxnSp>
        <p:nvCxnSpPr>
          <p:cNvPr id="34" name="Gerader Verbinder 34">
            <a:extLst>
              <a:ext uri="{FF2B5EF4-FFF2-40B4-BE49-F238E27FC236}">
                <a16:creationId xmlns:a16="http://schemas.microsoft.com/office/drawing/2014/main" id="{06CF9193-99BC-F2BE-C623-837435D1F2E0}"/>
              </a:ext>
            </a:extLst>
          </p:cNvPr>
          <p:cNvCxnSpPr>
            <a:cxnSpLocks/>
          </p:cNvCxnSpPr>
          <p:nvPr/>
        </p:nvCxnSpPr>
        <p:spPr>
          <a:xfrm>
            <a:off x="2954209" y="5012247"/>
            <a:ext cx="8856791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</a:ln>
          <a:effectLst/>
        </p:spPr>
      </p:cxnSp>
      <p:sp>
        <p:nvSpPr>
          <p:cNvPr id="35" name="Textplatzhalter 30">
            <a:extLst>
              <a:ext uri="{FF2B5EF4-FFF2-40B4-BE49-F238E27FC236}">
                <a16:creationId xmlns:a16="http://schemas.microsoft.com/office/drawing/2014/main" id="{4506B300-8079-305A-917E-79461D4771CB}"/>
              </a:ext>
            </a:extLst>
          </p:cNvPr>
          <p:cNvSpPr txBox="1">
            <a:spLocks/>
          </p:cNvSpPr>
          <p:nvPr/>
        </p:nvSpPr>
        <p:spPr>
          <a:xfrm>
            <a:off x="4625547" y="1649143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subtitle}</a:t>
            </a:r>
          </a:p>
        </p:txBody>
      </p:sp>
      <p:sp>
        <p:nvSpPr>
          <p:cNvPr id="36" name="Textplatzhalter 30">
            <a:extLst>
              <a:ext uri="{FF2B5EF4-FFF2-40B4-BE49-F238E27FC236}">
                <a16:creationId xmlns:a16="http://schemas.microsoft.com/office/drawing/2014/main" id="{C16BE54D-BD6C-26AA-9221-FE098CD2AABB}"/>
              </a:ext>
            </a:extLst>
          </p:cNvPr>
          <p:cNvSpPr txBox="1">
            <a:spLocks/>
          </p:cNvSpPr>
          <p:nvPr/>
        </p:nvSpPr>
        <p:spPr>
          <a:xfrm>
            <a:off x="4625547" y="2333705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dirty="0">
                <a:solidFill>
                  <a:srgbClr val="454545"/>
                </a:solidFill>
              </a:rPr>
              <a:t>{bullet_2_subtitle}</a:t>
            </a:r>
          </a:p>
        </p:txBody>
      </p:sp>
      <p:sp>
        <p:nvSpPr>
          <p:cNvPr id="37" name="Textplatzhalter 30">
            <a:extLst>
              <a:ext uri="{FF2B5EF4-FFF2-40B4-BE49-F238E27FC236}">
                <a16:creationId xmlns:a16="http://schemas.microsoft.com/office/drawing/2014/main" id="{C375737D-760D-FE38-F778-24D6621E144A}"/>
              </a:ext>
            </a:extLst>
          </p:cNvPr>
          <p:cNvSpPr txBox="1">
            <a:spLocks/>
          </p:cNvSpPr>
          <p:nvPr/>
        </p:nvSpPr>
        <p:spPr>
          <a:xfrm>
            <a:off x="4625547" y="3018268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dirty="0">
                <a:solidFill>
                  <a:srgbClr val="454545"/>
                </a:solidFill>
              </a:rPr>
              <a:t>{bullet_3_subtitle}</a:t>
            </a:r>
          </a:p>
        </p:txBody>
      </p:sp>
      <p:sp>
        <p:nvSpPr>
          <p:cNvPr id="38" name="Textplatzhalter 30">
            <a:extLst>
              <a:ext uri="{FF2B5EF4-FFF2-40B4-BE49-F238E27FC236}">
                <a16:creationId xmlns:a16="http://schemas.microsoft.com/office/drawing/2014/main" id="{2E0D27CF-C9CD-09BF-BF98-4A0FD912D60D}"/>
              </a:ext>
            </a:extLst>
          </p:cNvPr>
          <p:cNvSpPr txBox="1">
            <a:spLocks/>
          </p:cNvSpPr>
          <p:nvPr/>
        </p:nvSpPr>
        <p:spPr>
          <a:xfrm>
            <a:off x="4625547" y="3702831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dirty="0">
                <a:solidFill>
                  <a:srgbClr val="454545"/>
                </a:solidFill>
              </a:rPr>
              <a:t>{bullet_4_subtitle}</a:t>
            </a:r>
          </a:p>
        </p:txBody>
      </p:sp>
      <p:sp>
        <p:nvSpPr>
          <p:cNvPr id="39" name="Textplatzhalter 30">
            <a:extLst>
              <a:ext uri="{FF2B5EF4-FFF2-40B4-BE49-F238E27FC236}">
                <a16:creationId xmlns:a16="http://schemas.microsoft.com/office/drawing/2014/main" id="{A67ACCD3-5C7F-B9BD-ADFB-26273211FCD0}"/>
              </a:ext>
            </a:extLst>
          </p:cNvPr>
          <p:cNvSpPr txBox="1">
            <a:spLocks/>
          </p:cNvSpPr>
          <p:nvPr/>
        </p:nvSpPr>
        <p:spPr>
          <a:xfrm>
            <a:off x="4625547" y="4387393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dirty="0">
                <a:solidFill>
                  <a:srgbClr val="454545"/>
                </a:solidFill>
              </a:rPr>
              <a:t>{bullet_5_subtitle}</a:t>
            </a:r>
          </a:p>
        </p:txBody>
      </p:sp>
      <p:sp>
        <p:nvSpPr>
          <p:cNvPr id="40" name="Textplatzhalter 30">
            <a:extLst>
              <a:ext uri="{FF2B5EF4-FFF2-40B4-BE49-F238E27FC236}">
                <a16:creationId xmlns:a16="http://schemas.microsoft.com/office/drawing/2014/main" id="{AAC1FCCC-1227-E59B-D240-3D44A7B8A2DF}"/>
              </a:ext>
            </a:extLst>
          </p:cNvPr>
          <p:cNvSpPr txBox="1">
            <a:spLocks/>
          </p:cNvSpPr>
          <p:nvPr/>
        </p:nvSpPr>
        <p:spPr>
          <a:xfrm>
            <a:off x="4625547" y="5071955"/>
            <a:ext cx="2867453" cy="56514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zh-CN" dirty="0">
                <a:solidFill>
                  <a:srgbClr val="454545"/>
                </a:solidFill>
              </a:rPr>
              <a:t>{bullet_6_subtitle}</a:t>
            </a:r>
          </a:p>
        </p:txBody>
      </p:sp>
      <p:sp>
        <p:nvSpPr>
          <p:cNvPr id="41" name="Inhaltsplatzhalter 2">
            <a:extLst>
              <a:ext uri="{FF2B5EF4-FFF2-40B4-BE49-F238E27FC236}">
                <a16:creationId xmlns:a16="http://schemas.microsoft.com/office/drawing/2014/main" id="{DB7761D1-7350-AF3E-67DB-DCD3AE38D4D0}"/>
              </a:ext>
            </a:extLst>
          </p:cNvPr>
          <p:cNvSpPr txBox="1">
            <a:spLocks/>
          </p:cNvSpPr>
          <p:nvPr/>
        </p:nvSpPr>
        <p:spPr>
          <a:xfrm>
            <a:off x="7899400" y="1716273"/>
            <a:ext cx="39007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US" altLang="zh-CN" sz="1400" dirty="0">
                <a:solidFill>
                  <a:srgbClr val="454545"/>
                </a:solidFill>
              </a:rPr>
              <a:t>{bullet_1_subtitle_content}</a:t>
            </a:r>
          </a:p>
        </p:txBody>
      </p:sp>
      <p:sp>
        <p:nvSpPr>
          <p:cNvPr id="42" name="Inhaltsplatzhalter 2">
            <a:extLst>
              <a:ext uri="{FF2B5EF4-FFF2-40B4-BE49-F238E27FC236}">
                <a16:creationId xmlns:a16="http://schemas.microsoft.com/office/drawing/2014/main" id="{A5F27409-0BF1-6E94-EDAF-050A5BF21E45}"/>
              </a:ext>
            </a:extLst>
          </p:cNvPr>
          <p:cNvSpPr txBox="1">
            <a:spLocks/>
          </p:cNvSpPr>
          <p:nvPr/>
        </p:nvSpPr>
        <p:spPr>
          <a:xfrm>
            <a:off x="7899400" y="2400835"/>
            <a:ext cx="39007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US" altLang="zh-CN" sz="1400" dirty="0">
                <a:solidFill>
                  <a:srgbClr val="454545"/>
                </a:solidFill>
              </a:rPr>
              <a:t>{bullet_2_subtitle_content}</a:t>
            </a:r>
          </a:p>
        </p:txBody>
      </p:sp>
      <p:sp>
        <p:nvSpPr>
          <p:cNvPr id="43" name="Inhaltsplatzhalter 2">
            <a:extLst>
              <a:ext uri="{FF2B5EF4-FFF2-40B4-BE49-F238E27FC236}">
                <a16:creationId xmlns:a16="http://schemas.microsoft.com/office/drawing/2014/main" id="{338588AA-D861-0C65-0345-66032198CF0B}"/>
              </a:ext>
            </a:extLst>
          </p:cNvPr>
          <p:cNvSpPr txBox="1">
            <a:spLocks/>
          </p:cNvSpPr>
          <p:nvPr/>
        </p:nvSpPr>
        <p:spPr>
          <a:xfrm>
            <a:off x="7899400" y="3085398"/>
            <a:ext cx="39007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US" altLang="zh-CN" sz="1400" dirty="0">
                <a:solidFill>
                  <a:srgbClr val="454545"/>
                </a:solidFill>
              </a:rPr>
              <a:t>{bullet_3_subtitle_content}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C8FA7D91-ABE4-545E-7988-CBFA68E6D39F}"/>
              </a:ext>
            </a:extLst>
          </p:cNvPr>
          <p:cNvSpPr txBox="1">
            <a:spLocks/>
          </p:cNvSpPr>
          <p:nvPr/>
        </p:nvSpPr>
        <p:spPr>
          <a:xfrm>
            <a:off x="7899400" y="3769960"/>
            <a:ext cx="39007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US" altLang="zh-CN" sz="1400" dirty="0">
                <a:solidFill>
                  <a:srgbClr val="454545"/>
                </a:solidFill>
              </a:rPr>
              <a:t>{bullet_4_subtitle_content}</a:t>
            </a:r>
          </a:p>
        </p:txBody>
      </p:sp>
      <p:sp>
        <p:nvSpPr>
          <p:cNvPr id="46" name="Inhaltsplatzhalter 2">
            <a:extLst>
              <a:ext uri="{FF2B5EF4-FFF2-40B4-BE49-F238E27FC236}">
                <a16:creationId xmlns:a16="http://schemas.microsoft.com/office/drawing/2014/main" id="{84DE3FC9-E1C6-36CB-4976-DAAFAD729D52}"/>
              </a:ext>
            </a:extLst>
          </p:cNvPr>
          <p:cNvSpPr txBox="1">
            <a:spLocks/>
          </p:cNvSpPr>
          <p:nvPr/>
        </p:nvSpPr>
        <p:spPr>
          <a:xfrm>
            <a:off x="7899400" y="4454523"/>
            <a:ext cx="39007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US" altLang="zh-CN" sz="1400" dirty="0">
                <a:solidFill>
                  <a:srgbClr val="454545"/>
                </a:solidFill>
              </a:rPr>
              <a:t>{bullet_5_subtitle_content}</a:t>
            </a:r>
          </a:p>
        </p:txBody>
      </p:sp>
      <p:sp>
        <p:nvSpPr>
          <p:cNvPr id="47" name="Inhaltsplatzhalter 2">
            <a:extLst>
              <a:ext uri="{FF2B5EF4-FFF2-40B4-BE49-F238E27FC236}">
                <a16:creationId xmlns:a16="http://schemas.microsoft.com/office/drawing/2014/main" id="{CE60B6C6-B135-051A-322A-B0758A4357E2}"/>
              </a:ext>
            </a:extLst>
          </p:cNvPr>
          <p:cNvSpPr txBox="1">
            <a:spLocks/>
          </p:cNvSpPr>
          <p:nvPr/>
        </p:nvSpPr>
        <p:spPr>
          <a:xfrm>
            <a:off x="7899400" y="5139085"/>
            <a:ext cx="39007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US" altLang="zh-CN" sz="1400" dirty="0">
                <a:solidFill>
                  <a:srgbClr val="454545"/>
                </a:solidFill>
              </a:rPr>
              <a:t>{bullet_6_subtitle_content}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2A1818A6-90F3-9BA5-85C4-1086F0A1B20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52285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funnels, phases</a:t>
            </a:r>
          </a:p>
        </p:txBody>
      </p:sp>
    </p:spTree>
    <p:extLst>
      <p:ext uri="{BB962C8B-B14F-4D97-AF65-F5344CB8AC3E}">
        <p14:creationId xmlns:p14="http://schemas.microsoft.com/office/powerpoint/2010/main" val="1386627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34</Words>
  <Application>Microsoft Office PowerPoint</Application>
  <PresentationFormat>宽屏</PresentationFormat>
  <Paragraphs>2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Helvetica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7T06:07:47Z</dcterms:created>
  <dcterms:modified xsi:type="dcterms:W3CDTF">2025-08-27T06:09:38Z</dcterms:modified>
</cp:coreProperties>
</file>